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6" d="100"/>
          <a:sy n="86" d="100"/>
        </p:scale>
        <p:origin x="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D$2:$D$255</c:f>
              <c:numCache>
                <c:formatCode>#,##0</c:formatCode>
                <c:ptCount val="254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1</c:v>
                </c:pt>
                <c:pt idx="229">
                  <c:v>496</c:v>
                </c:pt>
                <c:pt idx="230">
                  <c:v>493</c:v>
                </c:pt>
                <c:pt idx="231">
                  <c:v>477</c:v>
                </c:pt>
                <c:pt idx="232">
                  <c:v>466</c:v>
                </c:pt>
                <c:pt idx="233">
                  <c:v>419</c:v>
                </c:pt>
                <c:pt idx="234">
                  <c:v>402</c:v>
                </c:pt>
                <c:pt idx="235">
                  <c:v>378</c:v>
                </c:pt>
                <c:pt idx="236">
                  <c:v>372</c:v>
                </c:pt>
                <c:pt idx="237">
                  <c:v>362</c:v>
                </c:pt>
                <c:pt idx="238">
                  <c:v>360</c:v>
                </c:pt>
                <c:pt idx="239">
                  <c:v>335</c:v>
                </c:pt>
                <c:pt idx="240">
                  <c:v>305</c:v>
                </c:pt>
                <c:pt idx="241">
                  <c:v>279</c:v>
                </c:pt>
                <c:pt idx="242">
                  <c:v>264</c:v>
                </c:pt>
                <c:pt idx="243" formatCode="General">
                  <c:v>270</c:v>
                </c:pt>
                <c:pt idx="244" formatCode="General">
                  <c:v>268</c:v>
                </c:pt>
                <c:pt idx="245" formatCode="General">
                  <c:v>256</c:v>
                </c:pt>
                <c:pt idx="246" formatCode="General">
                  <c:v>238</c:v>
                </c:pt>
                <c:pt idx="247" formatCode="General">
                  <c:v>224</c:v>
                </c:pt>
                <c:pt idx="248" formatCode="General">
                  <c:v>206</c:v>
                </c:pt>
                <c:pt idx="249" formatCode="General">
                  <c:v>189</c:v>
                </c:pt>
                <c:pt idx="250" formatCode="General">
                  <c:v>188</c:v>
                </c:pt>
                <c:pt idx="251" formatCode="General">
                  <c:v>191</c:v>
                </c:pt>
                <c:pt idx="252" formatCode="General">
                  <c:v>173</c:v>
                </c:pt>
                <c:pt idx="253" formatCode="General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6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B$2:$B$255</c:f>
              <c:numCache>
                <c:formatCode>#,##0</c:formatCode>
                <c:ptCount val="254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  <c:pt idx="249" formatCode="General">
                  <c:v>639</c:v>
                </c:pt>
                <c:pt idx="250" formatCode="General">
                  <c:v>643</c:v>
                </c:pt>
                <c:pt idx="251" formatCode="General">
                  <c:v>651</c:v>
                </c:pt>
                <c:pt idx="252" formatCode="General">
                  <c:v>663</c:v>
                </c:pt>
                <c:pt idx="253" formatCode="General">
                  <c:v>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C$2:$C$255</c:f>
              <c:numCache>
                <c:formatCode>#,##0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D$2:$D$255</c:f>
              <c:numCache>
                <c:formatCode>#,##0</c:formatCode>
                <c:ptCount val="254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5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6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5</c:v>
                </c:pt>
                <c:pt idx="147">
                  <c:v>2526</c:v>
                </c:pt>
                <c:pt idx="148">
                  <c:v>2418</c:v>
                </c:pt>
                <c:pt idx="149">
                  <c:v>2361</c:v>
                </c:pt>
                <c:pt idx="150">
                  <c:v>2343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5</c:v>
                </c:pt>
                <c:pt idx="173">
                  <c:v>2806</c:v>
                </c:pt>
                <c:pt idx="174">
                  <c:v>3000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3</c:v>
                </c:pt>
                <c:pt idx="182">
                  <c:v>3618</c:v>
                </c:pt>
                <c:pt idx="183">
                  <c:v>3594</c:v>
                </c:pt>
                <c:pt idx="184">
                  <c:v>3679</c:v>
                </c:pt>
                <c:pt idx="185">
                  <c:v>3707</c:v>
                </c:pt>
                <c:pt idx="186">
                  <c:v>3786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4</c:v>
                </c:pt>
                <c:pt idx="194">
                  <c:v>4043</c:v>
                </c:pt>
                <c:pt idx="195">
                  <c:v>4188</c:v>
                </c:pt>
                <c:pt idx="196">
                  <c:v>4103</c:v>
                </c:pt>
                <c:pt idx="197">
                  <c:v>4024</c:v>
                </c:pt>
                <c:pt idx="198">
                  <c:v>3995</c:v>
                </c:pt>
                <c:pt idx="199">
                  <c:v>3792</c:v>
                </c:pt>
                <c:pt idx="200">
                  <c:v>3717</c:v>
                </c:pt>
                <c:pt idx="201">
                  <c:v>3795</c:v>
                </c:pt>
                <c:pt idx="202">
                  <c:v>3812</c:v>
                </c:pt>
                <c:pt idx="203">
                  <c:v>3682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3</c:v>
                </c:pt>
                <c:pt idx="211">
                  <c:v>3147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6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9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7</c:v>
                </c:pt>
                <c:pt idx="234">
                  <c:v>1424</c:v>
                </c:pt>
                <c:pt idx="235">
                  <c:v>1355</c:v>
                </c:pt>
                <c:pt idx="236">
                  <c:v>1354</c:v>
                </c:pt>
                <c:pt idx="237">
                  <c:v>1303</c:v>
                </c:pt>
                <c:pt idx="238">
                  <c:v>1280</c:v>
                </c:pt>
                <c:pt idx="239">
                  <c:v>1240</c:v>
                </c:pt>
                <c:pt idx="240">
                  <c:v>1185</c:v>
                </c:pt>
                <c:pt idx="241">
                  <c:v>1139</c:v>
                </c:pt>
                <c:pt idx="242">
                  <c:v>1145</c:v>
                </c:pt>
                <c:pt idx="243">
                  <c:v>1138</c:v>
                </c:pt>
                <c:pt idx="244">
                  <c:v>1135</c:v>
                </c:pt>
                <c:pt idx="245">
                  <c:v>1065</c:v>
                </c:pt>
                <c:pt idx="246">
                  <c:v>1000</c:v>
                </c:pt>
                <c:pt idx="247" formatCode="General">
                  <c:v>928</c:v>
                </c:pt>
                <c:pt idx="248" formatCode="General">
                  <c:v>860</c:v>
                </c:pt>
                <c:pt idx="249" formatCode="General">
                  <c:v>818</c:v>
                </c:pt>
                <c:pt idx="250" formatCode="General">
                  <c:v>822</c:v>
                </c:pt>
                <c:pt idx="251" formatCode="General">
                  <c:v>778</c:v>
                </c:pt>
                <c:pt idx="252" formatCode="General">
                  <c:v>737</c:v>
                </c:pt>
                <c:pt idx="253" formatCode="General">
                  <c:v>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88F-4362-B4A6-9E19C601B0A9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29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88F-4362-B4A6-9E19C601B0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B$2:$B$255</c:f>
              <c:numCache>
                <c:formatCode>#,##0</c:formatCode>
                <c:ptCount val="254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C$2:$C$255</c:f>
              <c:numCache>
                <c:formatCode>#,##0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D$2:$D$255</c:f>
              <c:numCache>
                <c:formatCode>#,##0</c:formatCode>
                <c:ptCount val="2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6</c:v>
                </c:pt>
                <c:pt idx="249" formatCode="General">
                  <c:v>14</c:v>
                </c:pt>
                <c:pt idx="250" formatCode="General">
                  <c:v>13</c:v>
                </c:pt>
                <c:pt idx="251" formatCode="General">
                  <c:v>13</c:v>
                </c:pt>
                <c:pt idx="252" formatCode="General">
                  <c:v>13</c:v>
                </c:pt>
                <c:pt idx="253" formatCode="General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1.3064165799008164E-2"/>
                  <c:y val="-4.49057121480209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B$2:$B$255</c:f>
              <c:numCache>
                <c:formatCode>#,##0</c:formatCode>
                <c:ptCount val="254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m/d/yyyy">
                  <c:v>49</c:v>
                </c:pt>
                <c:pt idx="244" formatCode="m/d/yyyy">
                  <c:v>48</c:v>
                </c:pt>
                <c:pt idx="245" formatCode="m/d/yyyy">
                  <c:v>51</c:v>
                </c:pt>
                <c:pt idx="246" formatCode="m/d/yyyy">
                  <c:v>48</c:v>
                </c:pt>
                <c:pt idx="247" formatCode="m/d/yyyy">
                  <c:v>50</c:v>
                </c:pt>
                <c:pt idx="248" formatCode="m/d/yyyy">
                  <c:v>52</c:v>
                </c:pt>
                <c:pt idx="249" formatCode="m/d/yyyy">
                  <c:v>51</c:v>
                </c:pt>
                <c:pt idx="250" formatCode="m/d/yyyy">
                  <c:v>50</c:v>
                </c:pt>
                <c:pt idx="251" formatCode="m/d/yyyy">
                  <c:v>52</c:v>
                </c:pt>
                <c:pt idx="252" formatCode="m/d/yyyy">
                  <c:v>54</c:v>
                </c:pt>
                <c:pt idx="253" formatCode="m/d/yyyy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C$2:$C$255</c:f>
              <c:numCache>
                <c:formatCode>#,##0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D$2:$D$255</c:f>
              <c:numCache>
                <c:formatCode>#,##0</c:formatCode>
                <c:ptCount val="254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5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7</c:v>
                </c:pt>
                <c:pt idx="183">
                  <c:v>1624</c:v>
                </c:pt>
                <c:pt idx="184">
                  <c:v>1651</c:v>
                </c:pt>
                <c:pt idx="185">
                  <c:v>1671</c:v>
                </c:pt>
                <c:pt idx="186">
                  <c:v>1673</c:v>
                </c:pt>
                <c:pt idx="187">
                  <c:v>1676</c:v>
                </c:pt>
                <c:pt idx="188">
                  <c:v>1772</c:v>
                </c:pt>
                <c:pt idx="189">
                  <c:v>1801</c:v>
                </c:pt>
                <c:pt idx="190">
                  <c:v>1830</c:v>
                </c:pt>
                <c:pt idx="191">
                  <c:v>1820</c:v>
                </c:pt>
                <c:pt idx="192">
                  <c:v>1832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8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3</c:v>
                </c:pt>
                <c:pt idx="208">
                  <c:v>1652</c:v>
                </c:pt>
                <c:pt idx="209">
                  <c:v>1662</c:v>
                </c:pt>
                <c:pt idx="210">
                  <c:v>1614</c:v>
                </c:pt>
                <c:pt idx="211">
                  <c:v>1554</c:v>
                </c:pt>
                <c:pt idx="212">
                  <c:v>1505</c:v>
                </c:pt>
                <c:pt idx="213">
                  <c:v>1424</c:v>
                </c:pt>
                <c:pt idx="214">
                  <c:v>1401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8</c:v>
                </c:pt>
                <c:pt idx="221">
                  <c:v>1221</c:v>
                </c:pt>
                <c:pt idx="222">
                  <c:v>1203</c:v>
                </c:pt>
                <c:pt idx="223">
                  <c:v>1189</c:v>
                </c:pt>
                <c:pt idx="224">
                  <c:v>1160</c:v>
                </c:pt>
                <c:pt idx="225">
                  <c:v>1116</c:v>
                </c:pt>
                <c:pt idx="226">
                  <c:v>1039</c:v>
                </c:pt>
                <c:pt idx="227">
                  <c:v>1017</c:v>
                </c:pt>
                <c:pt idx="228">
                  <c:v>977</c:v>
                </c:pt>
                <c:pt idx="229">
                  <c:v>979</c:v>
                </c:pt>
                <c:pt idx="230">
                  <c:v>997</c:v>
                </c:pt>
                <c:pt idx="231">
                  <c:v>946</c:v>
                </c:pt>
                <c:pt idx="232">
                  <c:v>912</c:v>
                </c:pt>
                <c:pt idx="233">
                  <c:v>837</c:v>
                </c:pt>
                <c:pt idx="234">
                  <c:v>790</c:v>
                </c:pt>
                <c:pt idx="235">
                  <c:v>754</c:v>
                </c:pt>
                <c:pt idx="236">
                  <c:v>764</c:v>
                </c:pt>
                <c:pt idx="237">
                  <c:v>742</c:v>
                </c:pt>
                <c:pt idx="238">
                  <c:v>716</c:v>
                </c:pt>
                <c:pt idx="239">
                  <c:v>690</c:v>
                </c:pt>
                <c:pt idx="240">
                  <c:v>641</c:v>
                </c:pt>
                <c:pt idx="241">
                  <c:v>582</c:v>
                </c:pt>
                <c:pt idx="242">
                  <c:v>560</c:v>
                </c:pt>
                <c:pt idx="243" formatCode="General">
                  <c:v>566</c:v>
                </c:pt>
                <c:pt idx="244" formatCode="General">
                  <c:v>572</c:v>
                </c:pt>
                <c:pt idx="245" formatCode="General">
                  <c:v>553</c:v>
                </c:pt>
                <c:pt idx="246" formatCode="General">
                  <c:v>509</c:v>
                </c:pt>
                <c:pt idx="247" formatCode="General">
                  <c:v>470</c:v>
                </c:pt>
                <c:pt idx="248" formatCode="General">
                  <c:v>447</c:v>
                </c:pt>
                <c:pt idx="249" formatCode="General">
                  <c:v>418</c:v>
                </c:pt>
                <c:pt idx="250" formatCode="General">
                  <c:v>426</c:v>
                </c:pt>
                <c:pt idx="251" formatCode="General">
                  <c:v>429</c:v>
                </c:pt>
                <c:pt idx="252" formatCode="General">
                  <c:v>404</c:v>
                </c:pt>
                <c:pt idx="253" formatCode="General">
                  <c:v>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layout>
                <c:manualLayout>
                  <c:x val="1.079262939895252E-2"/>
                  <c:y val="8.575614127075071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0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B$2:$B$255</c:f>
              <c:numCache>
                <c:formatCode>#,##0</c:formatCode>
                <c:ptCount val="254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5</c:f>
              <c:numCache>
                <c:formatCode>m/d/yyyy</c:formatCode>
                <c:ptCount val="25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</c:numCache>
            </c:numRef>
          </c:cat>
          <c:val>
            <c:numRef>
              <c:f>Sheet1!$C$2:$C$255</c:f>
              <c:numCache>
                <c:formatCode>#,##0</c:formatCode>
                <c:ptCount val="25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3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3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87556553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8212867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45349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67007675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679077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930322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83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669</cp:revision>
  <dcterms:created xsi:type="dcterms:W3CDTF">2020-08-08T14:25:07Z</dcterms:created>
  <dcterms:modified xsi:type="dcterms:W3CDTF">2021-05-13T03:25:00Z</dcterms:modified>
</cp:coreProperties>
</file>